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6"/>
  </p:notesMasterIdLst>
  <p:sldIdLst>
    <p:sldId id="300" r:id="rId2"/>
    <p:sldId id="324" r:id="rId3"/>
    <p:sldId id="325" r:id="rId4"/>
    <p:sldId id="326" r:id="rId5"/>
    <p:sldId id="327" r:id="rId6"/>
    <p:sldId id="328" r:id="rId7"/>
    <p:sldId id="329" r:id="rId8"/>
    <p:sldId id="330" r:id="rId9"/>
    <p:sldId id="331" r:id="rId10"/>
    <p:sldId id="332" r:id="rId11"/>
    <p:sldId id="333" r:id="rId12"/>
    <p:sldId id="334" r:id="rId13"/>
    <p:sldId id="348" r:id="rId14"/>
    <p:sldId id="335" r:id="rId15"/>
    <p:sldId id="336" r:id="rId16"/>
    <p:sldId id="337" r:id="rId17"/>
    <p:sldId id="338" r:id="rId18"/>
    <p:sldId id="339" r:id="rId19"/>
    <p:sldId id="340" r:id="rId20"/>
    <p:sldId id="341" r:id="rId21"/>
    <p:sldId id="342" r:id="rId22"/>
    <p:sldId id="343" r:id="rId23"/>
    <p:sldId id="344" r:id="rId24"/>
    <p:sldId id="349" r:id="rId25"/>
    <p:sldId id="350" r:id="rId26"/>
    <p:sldId id="351" r:id="rId27"/>
    <p:sldId id="352" r:id="rId28"/>
    <p:sldId id="353" r:id="rId29"/>
    <p:sldId id="354" r:id="rId30"/>
    <p:sldId id="355" r:id="rId31"/>
    <p:sldId id="356" r:id="rId32"/>
    <p:sldId id="364" r:id="rId33"/>
    <p:sldId id="357" r:id="rId34"/>
    <p:sldId id="358" r:id="rId35"/>
    <p:sldId id="359" r:id="rId36"/>
    <p:sldId id="360" r:id="rId37"/>
    <p:sldId id="361" r:id="rId38"/>
    <p:sldId id="362" r:id="rId39"/>
    <p:sldId id="363" r:id="rId40"/>
    <p:sldId id="345" r:id="rId41"/>
    <p:sldId id="346" r:id="rId42"/>
    <p:sldId id="365" r:id="rId43"/>
    <p:sldId id="366" r:id="rId44"/>
    <p:sldId id="367" r:id="rId45"/>
    <p:sldId id="378" r:id="rId46"/>
    <p:sldId id="381" r:id="rId47"/>
    <p:sldId id="382" r:id="rId48"/>
    <p:sldId id="383" r:id="rId49"/>
    <p:sldId id="384" r:id="rId50"/>
    <p:sldId id="385" r:id="rId51"/>
    <p:sldId id="386" r:id="rId52"/>
    <p:sldId id="379" r:id="rId53"/>
    <p:sldId id="387" r:id="rId54"/>
    <p:sldId id="380" r:id="rId5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B314456-4B4C-4B36-9219-980102937F6D}">
          <p14:sldIdLst>
            <p14:sldId id="300"/>
            <p14:sldId id="324"/>
            <p14:sldId id="325"/>
            <p14:sldId id="326"/>
            <p14:sldId id="327"/>
            <p14:sldId id="328"/>
            <p14:sldId id="329"/>
            <p14:sldId id="330"/>
            <p14:sldId id="331"/>
            <p14:sldId id="332"/>
            <p14:sldId id="333"/>
            <p14:sldId id="334"/>
            <p14:sldId id="348"/>
            <p14:sldId id="335"/>
            <p14:sldId id="336"/>
            <p14:sldId id="337"/>
            <p14:sldId id="338"/>
            <p14:sldId id="339"/>
            <p14:sldId id="340"/>
            <p14:sldId id="341"/>
            <p14:sldId id="342"/>
            <p14:sldId id="343"/>
            <p14:sldId id="344"/>
            <p14:sldId id="349"/>
            <p14:sldId id="350"/>
            <p14:sldId id="351"/>
            <p14:sldId id="352"/>
            <p14:sldId id="353"/>
            <p14:sldId id="354"/>
            <p14:sldId id="355"/>
            <p14:sldId id="356"/>
            <p14:sldId id="364"/>
            <p14:sldId id="357"/>
            <p14:sldId id="358"/>
            <p14:sldId id="359"/>
            <p14:sldId id="360"/>
            <p14:sldId id="361"/>
            <p14:sldId id="362"/>
            <p14:sldId id="363"/>
            <p14:sldId id="345"/>
            <p14:sldId id="346"/>
            <p14:sldId id="365"/>
            <p14:sldId id="366"/>
            <p14:sldId id="367"/>
            <p14:sldId id="378"/>
            <p14:sldId id="381"/>
            <p14:sldId id="382"/>
            <p14:sldId id="383"/>
            <p14:sldId id="384"/>
            <p14:sldId id="385"/>
            <p14:sldId id="386"/>
            <p14:sldId id="379"/>
            <p14:sldId id="387"/>
            <p14:sldId id="38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егдальский Денис Игоревич" initials="МДИ" lastIdx="6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C7F1"/>
    <a:srgbClr val="CEE1F2"/>
    <a:srgbClr val="176BBD"/>
    <a:srgbClr val="49198B"/>
    <a:srgbClr val="2A3393"/>
    <a:srgbClr val="E3EAF6"/>
    <a:srgbClr val="2C2D8F"/>
    <a:srgbClr val="668CCF"/>
    <a:srgbClr val="ED7D31"/>
    <a:srgbClr val="7899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6408" autoAdjust="0"/>
  </p:normalViewPr>
  <p:slideViewPr>
    <p:cSldViewPr snapToGrid="0">
      <p:cViewPr varScale="1">
        <p:scale>
          <a:sx n="39" d="100"/>
          <a:sy n="39" d="100"/>
        </p:scale>
        <p:origin x="78" y="121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tableStyles" Target="tableStyle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commentAuthors" Target="commentAuthor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56728E-7B58-4258-ACF1-6AFD9B644731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C96344-AB4E-4E43-8796-67C97B8F4B3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4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1202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0559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45105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13211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8459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92672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03184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58692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43776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36942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732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42240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72148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92347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7663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7776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252179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337432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71805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75186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488194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782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43419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163497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815188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167995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428930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383476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60339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417449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321715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10864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23906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61381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599120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114870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471976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110490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333492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64082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549507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7758183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441443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85854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117644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8827470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224013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74506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6244948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57213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9285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48430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86145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0831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5761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81177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13561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80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687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357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85407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9575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47135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3723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4792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8014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0B3465-6BC1-4C5A-8672-039A31808E6C}" type="datetimeFigureOut">
              <a:rPr lang="ru-RU" smtClean="0"/>
              <a:pPr/>
              <a:t>01.03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9F17DE-9CE0-4913-884A-357EC79CAB6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2936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jpeg"/><Relationship Id="rId4" Type="http://schemas.openxmlformats.org/officeDocument/2006/relationships/tags" Target="../tags/tag2.xml"/><Relationship Id="rId9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2.png"/><Relationship Id="rId4" Type="http://schemas.openxmlformats.org/officeDocument/2006/relationships/image" Target="../media/image4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11" Type="http://schemas.openxmlformats.org/officeDocument/2006/relationships/image" Target="../media/image13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4.jpeg"/><Relationship Id="rId9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1.png"/><Relationship Id="rId4" Type="http://schemas.openxmlformats.org/officeDocument/2006/relationships/image" Target="../media/image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4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4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2.jpe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png"/><Relationship Id="rId5" Type="http://schemas.openxmlformats.org/officeDocument/2006/relationships/image" Target="../media/image50.png"/><Relationship Id="rId4" Type="http://schemas.openxmlformats.org/officeDocument/2006/relationships/image" Target="../media/image4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2.jpe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png"/><Relationship Id="rId5" Type="http://schemas.openxmlformats.org/officeDocument/2006/relationships/image" Target="../media/image46.png"/><Relationship Id="rId4" Type="http://schemas.openxmlformats.org/officeDocument/2006/relationships/image" Target="../media/image4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5.png"/><Relationship Id="rId4" Type="http://schemas.openxmlformats.org/officeDocument/2006/relationships/image" Target="../media/image4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6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4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4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9.png"/><Relationship Id="rId4" Type="http://schemas.openxmlformats.org/officeDocument/2006/relationships/image" Target="../media/image4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4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4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2.jpe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4.jpeg"/><Relationship Id="rId9" Type="http://schemas.openxmlformats.org/officeDocument/2006/relationships/image" Target="../media/image68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9.png"/><Relationship Id="rId4" Type="http://schemas.openxmlformats.org/officeDocument/2006/relationships/image" Target="../media/image4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4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4.jpe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2.jpe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png"/><Relationship Id="rId5" Type="http://schemas.openxmlformats.org/officeDocument/2006/relationships/image" Target="../media/image75.png"/><Relationship Id="rId4" Type="http://schemas.openxmlformats.org/officeDocument/2006/relationships/image" Target="../media/image4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4.jpe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2.jpe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4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2.png"/><Relationship Id="rId5" Type="http://schemas.openxmlformats.org/officeDocument/2006/relationships/image" Target="../media/image84.png"/><Relationship Id="rId4" Type="http://schemas.openxmlformats.org/officeDocument/2006/relationships/image" Target="../media/image4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4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8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4.jpe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2.jpeg"/><Relationship Id="rId7" Type="http://schemas.openxmlformats.org/officeDocument/2006/relationships/image" Target="../media/image92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1.png"/><Relationship Id="rId5" Type="http://schemas.openxmlformats.org/officeDocument/2006/relationships/image" Target="../media/image90.png"/><Relationship Id="rId10" Type="http://schemas.openxmlformats.org/officeDocument/2006/relationships/image" Target="../media/image95.png"/><Relationship Id="rId4" Type="http://schemas.openxmlformats.org/officeDocument/2006/relationships/image" Target="../media/image4.jpeg"/><Relationship Id="rId9" Type="http://schemas.openxmlformats.org/officeDocument/2006/relationships/image" Target="../media/image94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2.jpe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1.png"/><Relationship Id="rId11" Type="http://schemas.openxmlformats.org/officeDocument/2006/relationships/image" Target="../media/image100.png"/><Relationship Id="rId5" Type="http://schemas.openxmlformats.org/officeDocument/2006/relationships/image" Target="../media/image90.png"/><Relationship Id="rId10" Type="http://schemas.openxmlformats.org/officeDocument/2006/relationships/image" Target="../media/image99.png"/><Relationship Id="rId4" Type="http://schemas.openxmlformats.org/officeDocument/2006/relationships/image" Target="../media/image4.jpeg"/><Relationship Id="rId9" Type="http://schemas.openxmlformats.org/officeDocument/2006/relationships/image" Target="../media/image9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103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2.jpeg"/><Relationship Id="rId5" Type="http://schemas.openxmlformats.org/officeDocument/2006/relationships/image" Target="../media/image101.png"/><Relationship Id="rId4" Type="http://schemas.openxmlformats.org/officeDocument/2006/relationships/image" Target="../media/image4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3.png"/><Relationship Id="rId5" Type="http://schemas.openxmlformats.org/officeDocument/2006/relationships/image" Target="../media/image104.png"/><Relationship Id="rId4" Type="http://schemas.openxmlformats.org/officeDocument/2006/relationships/image" Target="../media/image4.jpe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2.jpeg"/><Relationship Id="rId7" Type="http://schemas.openxmlformats.org/officeDocument/2006/relationships/image" Target="../media/image106.jpe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4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8.png"/><Relationship Id="rId5" Type="http://schemas.openxmlformats.org/officeDocument/2006/relationships/image" Target="../media/image107.pn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4.jpe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13" Type="http://schemas.openxmlformats.org/officeDocument/2006/relationships/image" Target="../media/image108.png"/><Relationship Id="rId3" Type="http://schemas.openxmlformats.org/officeDocument/2006/relationships/image" Target="../media/image2.jpeg"/><Relationship Id="rId7" Type="http://schemas.openxmlformats.org/officeDocument/2006/relationships/image" Target="../media/image111.png"/><Relationship Id="rId12" Type="http://schemas.openxmlformats.org/officeDocument/2006/relationships/image" Target="../media/image116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0.png"/><Relationship Id="rId11" Type="http://schemas.openxmlformats.org/officeDocument/2006/relationships/image" Target="../media/image115.png"/><Relationship Id="rId5" Type="http://schemas.openxmlformats.org/officeDocument/2006/relationships/image" Target="../media/image109.png"/><Relationship Id="rId10" Type="http://schemas.openxmlformats.org/officeDocument/2006/relationships/image" Target="../media/image114.png"/><Relationship Id="rId4" Type="http://schemas.openxmlformats.org/officeDocument/2006/relationships/image" Target="../media/image4.jpeg"/><Relationship Id="rId9" Type="http://schemas.openxmlformats.org/officeDocument/2006/relationships/image" Target="../media/image11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4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9.jpeg"/><Relationship Id="rId4" Type="http://schemas.openxmlformats.org/officeDocument/2006/relationships/image" Target="../media/image4.jpe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notesSlide" Target="../notesSlides/notesSlide54.xm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3.jpeg"/><Relationship Id="rId4" Type="http://schemas.openxmlformats.org/officeDocument/2006/relationships/tags" Target="../tags/tag4.xml"/><Relationship Id="rId9" Type="http://schemas.openxmlformats.org/officeDocument/2006/relationships/image" Target="../media/image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12.png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14.png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5" name="Слайд think-cell" r:id="rId7" imgW="360" imgH="360" progId="">
                  <p:embed/>
                </p:oleObj>
              </mc:Choice>
              <mc:Fallback>
                <p:oleObj name="Слайд think-cell" r:id="rId7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6024"/>
            <a:ext cx="12189612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47686" y="365467"/>
            <a:ext cx="10216392" cy="387798"/>
          </a:xfr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Задания формата PISA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47686" y="2868627"/>
            <a:ext cx="11063264" cy="1107996"/>
          </a:xfrm>
          <a:noFill/>
        </p:spPr>
        <p:txBody>
          <a:bodyPr vert="horz" wrap="square" lIns="0" tIns="0" rIns="0" bIns="0" rtlCol="0" anchor="b">
            <a:spAutoFit/>
          </a:bodyPr>
          <a:lstStyle/>
          <a:p>
            <a:pPr>
              <a:spcBef>
                <a:spcPct val="0"/>
              </a:spcBef>
            </a:pPr>
            <a:r>
              <a:rPr lang="ru-RU" sz="4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Разбор заданий разных уровней </a:t>
            </a:r>
            <a:r>
              <a:rPr lang="ru-RU" sz="40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сложности</a:t>
            </a:r>
          </a:p>
          <a:p>
            <a:pPr>
              <a:spcBef>
                <a:spcPct val="0"/>
              </a:spcBef>
            </a:pPr>
            <a:r>
              <a:rPr lang="ru-RU" sz="40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4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естественно-научной грамотности </a:t>
            </a:r>
          </a:p>
        </p:txBody>
      </p:sp>
      <p:pic>
        <p:nvPicPr>
          <p:cNvPr id="11325" name="Picture 61" descr="Ecology and environment exampl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4025" y="-36024"/>
            <a:ext cx="3127975" cy="2233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158269" y="5214822"/>
            <a:ext cx="846974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000" i="1" dirty="0" smtClean="0">
                <a:solidFill>
                  <a:srgbClr val="002060"/>
                </a:solidFill>
                <a:latin typeface="NotoSans"/>
              </a:rPr>
              <a:t>Мерщиев Александр Валерьевич, </a:t>
            </a:r>
          </a:p>
          <a:p>
            <a:pPr algn="r"/>
            <a:r>
              <a:rPr lang="ru-RU" sz="2000" i="1" dirty="0" smtClean="0">
                <a:solidFill>
                  <a:srgbClr val="002060"/>
                </a:solidFill>
                <a:latin typeface="NotoSans"/>
              </a:rPr>
              <a:t>к</a:t>
            </a:r>
            <a:r>
              <a:rPr lang="ru-RU" sz="2000" i="1" dirty="0" smtClean="0">
                <a:solidFill>
                  <a:srgbClr val="002060"/>
                </a:solidFill>
                <a:latin typeface="NotoSans"/>
              </a:rPr>
              <a:t>андидат </a:t>
            </a:r>
            <a:r>
              <a:rPr lang="ru-RU" sz="2000" i="1" dirty="0" smtClean="0">
                <a:solidFill>
                  <a:srgbClr val="002060"/>
                </a:solidFill>
                <a:latin typeface="NotoSans"/>
              </a:rPr>
              <a:t>биологических </a:t>
            </a:r>
            <a:r>
              <a:rPr lang="ru-RU" sz="2000" i="1" dirty="0" smtClean="0">
                <a:solidFill>
                  <a:srgbClr val="002060"/>
                </a:solidFill>
                <a:latin typeface="NotoSans"/>
              </a:rPr>
              <a:t>наук</a:t>
            </a:r>
          </a:p>
          <a:p>
            <a:pPr algn="r"/>
            <a:r>
              <a:rPr lang="ru-RU" sz="2000" i="1" dirty="0" smtClean="0">
                <a:solidFill>
                  <a:srgbClr val="002060"/>
                </a:solidFill>
                <a:latin typeface="NotoSans"/>
              </a:rPr>
              <a:t>руководитель проектов АО «Академия «Просвещение»</a:t>
            </a:r>
            <a:endParaRPr lang="ru-RU" sz="2000" i="1" dirty="0"/>
          </a:p>
        </p:txBody>
      </p:sp>
    </p:spTree>
    <p:extLst>
      <p:ext uri="{BB962C8B-B14F-4D97-AF65-F5344CB8AC3E}">
        <p14:creationId xmlns:p14="http://schemas.microsoft.com/office/powerpoint/2010/main" val="2001065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-59629"/>
            <a:ext cx="9841832" cy="6916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102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770072"/>
            <a:ext cx="11788003" cy="4379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45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770072"/>
            <a:ext cx="11863771" cy="590479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27902" y="49171"/>
            <a:ext cx="1936195" cy="525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47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770072"/>
            <a:ext cx="11863771" cy="590479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27902" y="49171"/>
            <a:ext cx="1936195" cy="52588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392" y="5675834"/>
            <a:ext cx="11863774" cy="99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593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1463077"/>
            <a:ext cx="11863771" cy="3806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365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00481" y="1739007"/>
            <a:ext cx="6291519" cy="503321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9967" y="843226"/>
            <a:ext cx="7699156" cy="45024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9967" y="1444976"/>
            <a:ext cx="3070749" cy="44828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9492" y="2022952"/>
            <a:ext cx="2988056" cy="46139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2354" y="2562509"/>
            <a:ext cx="4488609" cy="49351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2354" y="3170703"/>
            <a:ext cx="2276665" cy="47336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307681" y="75615"/>
            <a:ext cx="1576637" cy="472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763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4336" y="0"/>
            <a:ext cx="6862011" cy="52649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2" y="770072"/>
            <a:ext cx="11050164" cy="6051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963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770072"/>
            <a:ext cx="9943261" cy="6080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346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886994"/>
            <a:ext cx="11810538" cy="156744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1" y="2717214"/>
            <a:ext cx="11244449" cy="2397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247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770072"/>
            <a:ext cx="11878713" cy="255064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52084" y="3201015"/>
            <a:ext cx="4539916" cy="357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702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естественных наук</a:t>
            </a:r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685800" y="1010653"/>
            <a:ext cx="1124952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/>
              <a:t>Естественнонаучная грамотность (ЕНГ) - способность применять </a:t>
            </a:r>
            <a:r>
              <a:rPr lang="ru-RU" sz="2400" dirty="0"/>
              <a:t>естественнонаучные знания и умения в реальных жизненных ситуациях, в том числе в случаях обсуждения общественно значимых вопросов, связанных с практическими применениями достижений естественных наук</a:t>
            </a:r>
          </a:p>
        </p:txBody>
      </p:sp>
      <p:pic>
        <p:nvPicPr>
          <p:cNvPr id="12294" name="Picture 6" descr="ВВЕДЕНИЕ - Естествознание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8982" y="3410688"/>
            <a:ext cx="6324600" cy="3333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685801" y="2901162"/>
            <a:ext cx="87215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/>
              <a:t>Как понять, владеешь ли ты естественнонаучной грамотностью?</a:t>
            </a:r>
            <a:endParaRPr lang="ru-RU" sz="2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767517" y="4165158"/>
            <a:ext cx="2893484" cy="23083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Для чего мне нужна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Биолог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Хим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Физик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Географ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Астрономи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108505" y="6288816"/>
            <a:ext cx="1042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i="1" dirty="0" smtClean="0"/>
              <a:t>Больше?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3622216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774" y="770072"/>
            <a:ext cx="11747389" cy="320034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7774" y="4107142"/>
            <a:ext cx="11747389" cy="2129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125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770072"/>
            <a:ext cx="10183892" cy="373265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79305" y="4103341"/>
            <a:ext cx="3195858" cy="2668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44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36474" y="0"/>
            <a:ext cx="1987800" cy="49695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2" y="770071"/>
            <a:ext cx="11780541" cy="445163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392" y="5269830"/>
            <a:ext cx="2070597" cy="60283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1391" y="5903817"/>
            <a:ext cx="11780542" cy="774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88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770072"/>
            <a:ext cx="11875053" cy="329660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3563" y="4066674"/>
            <a:ext cx="5978437" cy="279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982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1806" y="0"/>
            <a:ext cx="1888387" cy="52588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2" y="722563"/>
            <a:ext cx="11749850" cy="4378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19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770072"/>
            <a:ext cx="10039513" cy="342812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19938" y="3789507"/>
            <a:ext cx="2955226" cy="2982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727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770071"/>
            <a:ext cx="8430763" cy="376519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58989" y="979157"/>
            <a:ext cx="3316174" cy="334702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391" y="4523234"/>
            <a:ext cx="11496825" cy="2248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982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08602" y="21672"/>
            <a:ext cx="1974795" cy="54994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4898" y="717465"/>
            <a:ext cx="6069092" cy="260956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392" y="3531415"/>
            <a:ext cx="7217380" cy="160386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1289" y="5195711"/>
            <a:ext cx="7183874" cy="1576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876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842534"/>
            <a:ext cx="11999885" cy="5427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472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770072"/>
            <a:ext cx="11441048" cy="600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833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4369" y="770072"/>
            <a:ext cx="9943261" cy="5996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321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8126" y="778741"/>
            <a:ext cx="11745022" cy="129863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8125" y="2248013"/>
            <a:ext cx="11745022" cy="2877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534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819150"/>
            <a:ext cx="11863771" cy="5373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135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776955"/>
            <a:ext cx="11694799" cy="179780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50781" y="2574758"/>
            <a:ext cx="5604461" cy="4157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431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672348"/>
            <a:ext cx="11244449" cy="320519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1" y="3896319"/>
            <a:ext cx="6959430" cy="2961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364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770072"/>
            <a:ext cx="6577838" cy="490883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70240" y="889261"/>
            <a:ext cx="3791316" cy="37445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7547" y="1528751"/>
            <a:ext cx="5107616" cy="33059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8234" y="2118100"/>
            <a:ext cx="5123840" cy="28821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98234" y="2632711"/>
            <a:ext cx="3736914" cy="302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264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900517"/>
            <a:ext cx="11901676" cy="5043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86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3" y="770072"/>
            <a:ext cx="11050164" cy="416028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87389" y="4018596"/>
            <a:ext cx="3874167" cy="2865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32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844131"/>
            <a:ext cx="11459240" cy="168518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2" y="2577439"/>
            <a:ext cx="6141282" cy="419021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2674" y="2577437"/>
            <a:ext cx="6129165" cy="4190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907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831630"/>
            <a:ext cx="11430876" cy="121373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3" y="2401206"/>
            <a:ext cx="3855282" cy="263047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6675" y="2372631"/>
            <a:ext cx="3889473" cy="265904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56148" y="2372630"/>
            <a:ext cx="3866147" cy="2364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601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838868"/>
            <a:ext cx="11863771" cy="163769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7649" y="5288180"/>
            <a:ext cx="11567361" cy="126223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7649" y="2458385"/>
            <a:ext cx="5133975" cy="284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749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843630"/>
            <a:ext cx="11826793" cy="158811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1" y="2479872"/>
            <a:ext cx="11800588" cy="288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518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826868"/>
            <a:ext cx="11731266" cy="124256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2" y="2009347"/>
            <a:ext cx="4410075" cy="317182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3634" y="2742314"/>
            <a:ext cx="7361529" cy="243885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2733" y="5571772"/>
            <a:ext cx="11650184" cy="791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345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8229" y="2667692"/>
            <a:ext cx="11863771" cy="410669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94485" y="-48126"/>
            <a:ext cx="8197516" cy="2715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3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702691"/>
            <a:ext cx="9245429" cy="594552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12461" y="138170"/>
            <a:ext cx="4271597" cy="388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296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770071"/>
            <a:ext cx="11837702" cy="435538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53663" y="758569"/>
            <a:ext cx="1469835" cy="40322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00114" y="5125452"/>
            <a:ext cx="1755726" cy="1732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256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03396" y="91602"/>
            <a:ext cx="1985208" cy="52111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2" y="827365"/>
            <a:ext cx="11809510" cy="78486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391" y="1815375"/>
            <a:ext cx="11809511" cy="130198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1390" y="3165480"/>
            <a:ext cx="11809511" cy="98412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1389" y="4209246"/>
            <a:ext cx="11809511" cy="77018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1389" y="5039071"/>
            <a:ext cx="11809511" cy="833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028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03396" y="91602"/>
            <a:ext cx="1985208" cy="52111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2" y="827365"/>
            <a:ext cx="11809510" cy="78486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391" y="1992479"/>
            <a:ext cx="11627683" cy="89584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1391" y="2980489"/>
            <a:ext cx="11680083" cy="70117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1391" y="3773830"/>
            <a:ext cx="6440173" cy="454368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1391" y="4320365"/>
            <a:ext cx="3167895" cy="430208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487349" y="3636774"/>
            <a:ext cx="3404125" cy="3259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216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770072"/>
            <a:ext cx="11863771" cy="4131298"/>
          </a:xfrm>
          <a:prstGeom prst="rect">
            <a:avLst/>
          </a:prstGeom>
        </p:spPr>
      </p:pic>
      <p:pic>
        <p:nvPicPr>
          <p:cNvPr id="37890" name="Picture 2" descr="Annie Hopf Autopsia (Profesor Porieux, París), 1889, 147×114 cm:  Descripción de la obra | Arthiv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6148" y="4896948"/>
            <a:ext cx="2549692" cy="1959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4" descr="Soundstream: Базаров порезал палец - слушать плейлист с аудиоподкастами  онлайн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9043" y="32518"/>
            <a:ext cx="1673913" cy="506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420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1102592"/>
            <a:ext cx="11796451" cy="399879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59043" y="32518"/>
            <a:ext cx="1673913" cy="506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156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1102592"/>
            <a:ext cx="11796451" cy="399879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2" y="5066608"/>
            <a:ext cx="1761787" cy="1761787"/>
          </a:xfrm>
          <a:prstGeom prst="rect">
            <a:avLst/>
          </a:prstGeom>
        </p:spPr>
      </p:pic>
      <p:pic>
        <p:nvPicPr>
          <p:cNvPr id="18" name="Picture 12" descr="Смерть Базарова – анализ 27 главы романа «Отцы и дети» Тургенева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1979" y="5116474"/>
            <a:ext cx="3994484" cy="1711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50862" y="78146"/>
            <a:ext cx="1717507" cy="519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815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1114" y="1102592"/>
            <a:ext cx="11649772" cy="308003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86263" y="109039"/>
            <a:ext cx="1419474" cy="405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529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2023027"/>
            <a:ext cx="5395324" cy="262975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2" y="801728"/>
            <a:ext cx="10765838" cy="95488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94310" y="1934117"/>
            <a:ext cx="6638167" cy="4033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886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1068152"/>
            <a:ext cx="11744746" cy="90061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4928" y="1937212"/>
            <a:ext cx="11722144" cy="73263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1392" y="2643689"/>
            <a:ext cx="11722144" cy="38827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1392" y="2993409"/>
            <a:ext cx="11722144" cy="78023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4928" y="3763612"/>
            <a:ext cx="11721210" cy="38947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4928" y="4543850"/>
            <a:ext cx="11664019" cy="89442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1392" y="5444035"/>
            <a:ext cx="3061197" cy="40816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34928" y="5856690"/>
            <a:ext cx="3416790" cy="375668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67499" y="76261"/>
            <a:ext cx="1656067" cy="473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121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770071"/>
            <a:ext cx="11863771" cy="457766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7906" y="69798"/>
            <a:ext cx="1710740" cy="501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587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естественных наук</a:t>
            </a:r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685800" y="1010653"/>
            <a:ext cx="1124952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/>
              <a:t>Естественнонаучная грамотность (ЕНГ) - способность применять </a:t>
            </a:r>
            <a:r>
              <a:rPr lang="ru-RU" sz="2400" dirty="0"/>
              <a:t>естественнонаучные знания и умения в реальных жизненных ситуациях, в том числе в случаях обсуждения общественно значимых вопросов, связанных с практическими применениями достижений естественных наук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85801" y="2901162"/>
            <a:ext cx="87215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/>
              <a:t>Как понять, владеешь ли ты естественнонаучной грамотностью?</a:t>
            </a:r>
            <a:endParaRPr lang="ru-RU" sz="2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85800" y="3395515"/>
            <a:ext cx="2893484" cy="23083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Для чего мне нужна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Биолог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Хим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Физик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Географи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/>
              <a:t>Астрономи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112042" y="4186988"/>
            <a:ext cx="555859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i="1" dirty="0" smtClean="0"/>
              <a:t>Больше!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i="1" dirty="0" smtClean="0"/>
              <a:t>Анализ информаци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i="1" dirty="0" smtClean="0"/>
              <a:t>Критическое мышление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i="1" dirty="0" smtClean="0"/>
              <a:t>Логика в жизн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i="1" dirty="0" smtClean="0"/>
              <a:t>Защита от манипуляции</a:t>
            </a:r>
            <a:endParaRPr lang="ru-RU" sz="2800" i="1" dirty="0"/>
          </a:p>
        </p:txBody>
      </p:sp>
    </p:spTree>
    <p:extLst>
      <p:ext uri="{BB962C8B-B14F-4D97-AF65-F5344CB8AC3E}">
        <p14:creationId xmlns:p14="http://schemas.microsoft.com/office/powerpoint/2010/main" val="296499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11392" y="1735055"/>
            <a:ext cx="8932608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/>
              <a:t>Задания для самостоятельной работы учеников:</a:t>
            </a:r>
          </a:p>
          <a:p>
            <a:endParaRPr lang="ru-RU" sz="2800" dirty="0" smtClean="0"/>
          </a:p>
          <a:p>
            <a:pPr marL="342900" indent="-342900">
              <a:buFont typeface="+mj-lt"/>
              <a:buAutoNum type="arabicPeriod"/>
            </a:pPr>
            <a:r>
              <a:rPr lang="ru-RU" sz="2800" dirty="0" smtClean="0"/>
              <a:t>Кислотные дожд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800" dirty="0" smtClean="0"/>
              <a:t>Блеск</a:t>
            </a:r>
            <a:r>
              <a:rPr lang="ru-RU" sz="2800" dirty="0"/>
              <a:t> </a:t>
            </a:r>
            <a:r>
              <a:rPr lang="ru-RU" sz="2800" dirty="0" smtClean="0"/>
              <a:t>для губ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800" dirty="0" smtClean="0"/>
              <a:t>Прохождение Венеры по диску солнца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800" dirty="0" smtClean="0"/>
              <a:t>Кариес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800" dirty="0" smtClean="0"/>
              <a:t>Клонированные телята</a:t>
            </a:r>
          </a:p>
        </p:txBody>
      </p:sp>
      <p:pic>
        <p:nvPicPr>
          <p:cNvPr id="39938" name="Picture 2" descr="Абсолютный успех – заслуга удачи. Относительный успех – результат тяжелого  труда — The Idealis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889" y="3435178"/>
            <a:ext cx="5528111" cy="3422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5015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Слайд think-cell" r:id="rId7" imgW="360" imgH="360" progId="">
                  <p:embed/>
                </p:oleObj>
              </mc:Choice>
              <mc:Fallback>
                <p:oleObj name="Слайд think-cell" r:id="rId7" imgW="360" imgH="360" progId="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6024"/>
            <a:ext cx="12189612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47686" y="365467"/>
            <a:ext cx="10216392" cy="387798"/>
          </a:xfr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Задания формата PISA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47686" y="2868627"/>
            <a:ext cx="11063264" cy="1107996"/>
          </a:xfrm>
          <a:noFill/>
        </p:spPr>
        <p:txBody>
          <a:bodyPr vert="horz" wrap="square" lIns="0" tIns="0" rIns="0" bIns="0" rtlCol="0" anchor="b">
            <a:spAutoFit/>
          </a:bodyPr>
          <a:lstStyle/>
          <a:p>
            <a:pPr>
              <a:spcBef>
                <a:spcPct val="0"/>
              </a:spcBef>
            </a:pPr>
            <a:r>
              <a:rPr lang="ru-RU" sz="4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Разбор заданий разных уровней </a:t>
            </a:r>
            <a:r>
              <a:rPr lang="ru-RU" sz="40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сложности</a:t>
            </a:r>
          </a:p>
          <a:p>
            <a:pPr>
              <a:spcBef>
                <a:spcPct val="0"/>
              </a:spcBef>
            </a:pPr>
            <a:r>
              <a:rPr lang="ru-RU" sz="40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40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естественно-научной грамотности </a:t>
            </a:r>
          </a:p>
        </p:txBody>
      </p:sp>
      <p:pic>
        <p:nvPicPr>
          <p:cNvPr id="11325" name="Picture 61" descr="Ecology and environment exampl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4025" y="-36024"/>
            <a:ext cx="3127975" cy="2233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158269" y="5214822"/>
            <a:ext cx="846974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000" i="1" dirty="0" smtClean="0">
                <a:solidFill>
                  <a:srgbClr val="002060"/>
                </a:solidFill>
                <a:latin typeface="NotoSans"/>
              </a:rPr>
              <a:t>Мерщиев Александр Валерьевич, </a:t>
            </a:r>
          </a:p>
          <a:p>
            <a:pPr algn="r"/>
            <a:r>
              <a:rPr lang="ru-RU" sz="2000" i="1" dirty="0" smtClean="0">
                <a:solidFill>
                  <a:srgbClr val="002060"/>
                </a:solidFill>
                <a:latin typeface="NotoSans"/>
              </a:rPr>
              <a:t>к</a:t>
            </a:r>
            <a:r>
              <a:rPr lang="ru-RU" sz="2000" i="1" dirty="0" smtClean="0">
                <a:solidFill>
                  <a:srgbClr val="002060"/>
                </a:solidFill>
                <a:latin typeface="NotoSans"/>
              </a:rPr>
              <a:t>андидат </a:t>
            </a:r>
            <a:r>
              <a:rPr lang="ru-RU" sz="2000" i="1" dirty="0" smtClean="0">
                <a:solidFill>
                  <a:srgbClr val="002060"/>
                </a:solidFill>
                <a:latin typeface="NotoSans"/>
              </a:rPr>
              <a:t>биологических </a:t>
            </a:r>
            <a:r>
              <a:rPr lang="ru-RU" sz="2000" i="1" dirty="0" smtClean="0">
                <a:solidFill>
                  <a:srgbClr val="002060"/>
                </a:solidFill>
                <a:latin typeface="NotoSans"/>
              </a:rPr>
              <a:t>наук</a:t>
            </a:r>
          </a:p>
          <a:p>
            <a:pPr algn="r"/>
            <a:r>
              <a:rPr lang="ru-RU" sz="2000" i="1" dirty="0" smtClean="0">
                <a:solidFill>
                  <a:srgbClr val="002060"/>
                </a:solidFill>
                <a:latin typeface="NotoSans"/>
              </a:rPr>
              <a:t>руководитель проектов АО «Академия «Просвещение»</a:t>
            </a:r>
            <a:endParaRPr lang="ru-RU" sz="2000" i="1" dirty="0"/>
          </a:p>
        </p:txBody>
      </p:sp>
    </p:spTree>
    <p:extLst>
      <p:ext uri="{BB962C8B-B14F-4D97-AF65-F5344CB8AC3E}">
        <p14:creationId xmlns:p14="http://schemas.microsoft.com/office/powerpoint/2010/main" val="7804786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2" y="672348"/>
            <a:ext cx="9750755" cy="258508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2810" y="3305558"/>
            <a:ext cx="7179191" cy="349924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71151" y="1601363"/>
            <a:ext cx="1904012" cy="621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558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891756"/>
            <a:ext cx="11440115" cy="153862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01980" y="2739755"/>
            <a:ext cx="8273184" cy="4032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290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3" y="839370"/>
            <a:ext cx="9630440" cy="98563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1391" y="2040150"/>
            <a:ext cx="11863772" cy="3810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59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8" y="0"/>
            <a:ext cx="12189612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Прямоугольник 9"/>
          <p:cNvSpPr/>
          <p:nvPr/>
        </p:nvSpPr>
        <p:spPr>
          <a:xfrm>
            <a:off x="0" y="-48126"/>
            <a:ext cx="12192000" cy="691762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455840" y="6415563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8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624221"/>
            <a:ext cx="12192000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11392" y="109039"/>
            <a:ext cx="110501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Задания формата </a:t>
            </a:r>
            <a:r>
              <a:rPr lang="en-US" sz="24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290" name="Picture 2" descr="ФИОКО - Опубликован отчёт по результатам исследования глобальных  компетенций PISA-20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1556" y="1"/>
            <a:ext cx="813607" cy="571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1391" y="770072"/>
            <a:ext cx="11788003" cy="4379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74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74</TotalTime>
  <Words>457</Words>
  <Application>Microsoft Office PowerPoint</Application>
  <PresentationFormat>Широкоэкранный</PresentationFormat>
  <Paragraphs>201</Paragraphs>
  <Slides>54</Slides>
  <Notes>5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4</vt:i4>
      </vt:variant>
    </vt:vector>
  </HeadingPairs>
  <TitlesOfParts>
    <vt:vector size="61" baseType="lpstr">
      <vt:lpstr>Arial</vt:lpstr>
      <vt:lpstr>Calibri</vt:lpstr>
      <vt:lpstr>Calibri Light</vt:lpstr>
      <vt:lpstr>NotoSans</vt:lpstr>
      <vt:lpstr>Open Sans Light</vt:lpstr>
      <vt:lpstr>Тема Office</vt:lpstr>
      <vt:lpstr>Слайд think-cell</vt:lpstr>
      <vt:lpstr>Задания формата PISA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Задания формата PIS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РУППА КОМПАНИЙ ПРОСВЕЩЕНИЕ — СИСТЕМЕ ОБРАЗОВАНИЯ</dc:title>
  <dc:creator>Мегдальский Денис Игоревич</dc:creator>
  <cp:lastModifiedBy>Мерщиев Александр Валерьевич</cp:lastModifiedBy>
  <cp:revision>286</cp:revision>
  <dcterms:created xsi:type="dcterms:W3CDTF">2019-08-12T18:04:10Z</dcterms:created>
  <dcterms:modified xsi:type="dcterms:W3CDTF">2022-03-01T05:22:25Z</dcterms:modified>
</cp:coreProperties>
</file>